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7535" r:id="rId2"/>
    <p:sldId id="2078559361" r:id="rId3"/>
    <p:sldId id="2078559329" r:id="rId4"/>
    <p:sldId id="7515" r:id="rId5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8" d="100"/>
          <a:sy n="58" d="100"/>
        </p:scale>
        <p:origin x="435" y="5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erol Guerrero Adrian" userId="59fe35c3-d1aa-47ee-91e4-91efab7f9c39" providerId="ADAL" clId="{DFC21304-D73E-4FC8-9C9C-D2AC71AB35FA}"/>
    <pc:docChg chg="undo custSel mod modSld">
      <pc:chgData name="Terol Guerrero Adrian" userId="59fe35c3-d1aa-47ee-91e4-91efab7f9c39" providerId="ADAL" clId="{DFC21304-D73E-4FC8-9C9C-D2AC71AB35FA}" dt="2024-04-02T16:54:00.387" v="480" actId="14100"/>
      <pc:docMkLst>
        <pc:docMk/>
      </pc:docMkLst>
      <pc:sldChg chg="modSp mod">
        <pc:chgData name="Terol Guerrero Adrian" userId="59fe35c3-d1aa-47ee-91e4-91efab7f9c39" providerId="ADAL" clId="{DFC21304-D73E-4FC8-9C9C-D2AC71AB35FA}" dt="2024-04-02T16:54:00.387" v="480" actId="14100"/>
        <pc:sldMkLst>
          <pc:docMk/>
          <pc:sldMk cId="3053578744" sldId="2078559329"/>
        </pc:sldMkLst>
        <pc:spChg chg="mod">
          <ac:chgData name="Terol Guerrero Adrian" userId="59fe35c3-d1aa-47ee-91e4-91efab7f9c39" providerId="ADAL" clId="{DFC21304-D73E-4FC8-9C9C-D2AC71AB35FA}" dt="2024-04-02T16:54:00.387" v="480" actId="14100"/>
          <ac:spMkLst>
            <pc:docMk/>
            <pc:sldMk cId="3053578744" sldId="2078559329"/>
            <ac:spMk id="3" creationId="{29C8FA9D-94B7-402F-8CEF-50579834158E}"/>
          </ac:spMkLst>
        </pc:spChg>
      </pc:sldChg>
      <pc:sldChg chg="modSp mod">
        <pc:chgData name="Terol Guerrero Adrian" userId="59fe35c3-d1aa-47ee-91e4-91efab7f9c39" providerId="ADAL" clId="{DFC21304-D73E-4FC8-9C9C-D2AC71AB35FA}" dt="2024-04-02T16:53:42.505" v="464" actId="113"/>
        <pc:sldMkLst>
          <pc:docMk/>
          <pc:sldMk cId="1452176723" sldId="2078559361"/>
        </pc:sldMkLst>
        <pc:spChg chg="mod">
          <ac:chgData name="Terol Guerrero Adrian" userId="59fe35c3-d1aa-47ee-91e4-91efab7f9c39" providerId="ADAL" clId="{DFC21304-D73E-4FC8-9C9C-D2AC71AB35FA}" dt="2024-04-02T16:53:42.505" v="464" actId="113"/>
          <ac:spMkLst>
            <pc:docMk/>
            <pc:sldMk cId="1452176723" sldId="2078559361"/>
            <ac:spMk id="4" creationId="{925A5B20-2668-D869-5450-32C20BBB8396}"/>
          </ac:spMkLst>
        </pc:spChg>
        <pc:spChg chg="mod">
          <ac:chgData name="Terol Guerrero Adrian" userId="59fe35c3-d1aa-47ee-91e4-91efab7f9c39" providerId="ADAL" clId="{DFC21304-D73E-4FC8-9C9C-D2AC71AB35FA}" dt="2024-04-02T16:53:15.931" v="462" actId="20577"/>
          <ac:spMkLst>
            <pc:docMk/>
            <pc:sldMk cId="1452176723" sldId="2078559361"/>
            <ac:spMk id="6" creationId="{15F517B6-6A23-9E3E-0D41-9867775F237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AF1A2-87A4-41FA-90C6-9B7AF28C96A9}" type="datetimeFigureOut">
              <a:rPr lang="es-ES" smtClean="0"/>
              <a:t>02/04/2024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2FEBAA-3295-4111-8604-F60B9E0CA74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443055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57188" y="1239838"/>
            <a:ext cx="5954712" cy="3351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  <a:latin typeface="Arial" panose="020B0604020202020204" pitchFamily="34" charset="0"/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  <a:latin typeface="Arial" panose="020B0604020202020204" pitchFamily="34" charset="0"/>
              </a:rPr>
              <a:pPr/>
              <a:t>4</a:t>
            </a:fld>
            <a:endParaRPr lang="en-US">
              <a:solidFill>
                <a:srgbClr val="6E6F73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3870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6411AD-2982-FA28-AF79-E7890B3B1C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s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D74687E-459E-59C0-02EE-09158D2FE7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63D388-2671-D1B8-0CE7-8FC8BA91AB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CBC6-E12D-4B94-AE09-EE65170EACF8}" type="datetimeFigureOut">
              <a:rPr lang="es-ES" smtClean="0"/>
              <a:t>02/04/2024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D6F47D-73B5-CA8E-607D-B3821371C5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F56C0A-FB93-6FDB-4819-BCA990A7FA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4F39B-73BC-4AA6-8B43-252A6C6D81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738575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458073-E2A7-AB37-9448-6A8426DE9D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633FF2-A33D-AF37-A8B5-26BD0924D2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BCC9DB-BA0D-3958-6969-AF8E553679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CBC6-E12D-4B94-AE09-EE65170EACF8}" type="datetimeFigureOut">
              <a:rPr lang="es-ES" smtClean="0"/>
              <a:t>02/04/2024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EED1EE-FED4-AA27-7511-93B8F447B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D09CCE-B6A5-0DA9-D388-8A0E6886FC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4F39B-73BC-4AA6-8B43-252A6C6D81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15349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558E309-8CB7-BD8C-0B30-688D1C1A24F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7E049A-BD27-46A7-D6DC-C89D758B16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AC9F93-7603-C401-F024-3C7BC7C65C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CBC6-E12D-4B94-AE09-EE65170EACF8}" type="datetimeFigureOut">
              <a:rPr lang="es-ES" smtClean="0"/>
              <a:t>02/04/2024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BA6260-8B4E-F521-0750-314A3124BD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495E86-C827-C0B8-C812-94FFD8D74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4F39B-73BC-4AA6-8B43-252A6C6D81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55164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302F92-ECCE-92D3-F595-E94B56A460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C5BD48-4A93-B241-89A0-39F7D52FEB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3BC08D-FAF6-8EB4-565C-668C766788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CBC6-E12D-4B94-AE09-EE65170EACF8}" type="datetimeFigureOut">
              <a:rPr lang="es-ES" smtClean="0"/>
              <a:t>02/04/2024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9A5F-6B2F-CF8B-DD6F-AD66B85939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3B5F0-D177-8DE8-2FD4-482F1F0EB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4F39B-73BC-4AA6-8B43-252A6C6D81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270936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804C90-E938-1B2E-9A7F-68AC0EC771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9D7F7B-1FE1-E906-879A-26FF5F93AD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4FD70F-E10C-89C2-D7AA-E0493273B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CBC6-E12D-4B94-AE09-EE65170EACF8}" type="datetimeFigureOut">
              <a:rPr lang="es-ES" smtClean="0"/>
              <a:t>02/04/2024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47ADE7-CE0D-078F-365B-7E5AC7E58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4E235-6299-CE83-C2E7-59C04D41F9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4F39B-73BC-4AA6-8B43-252A6C6D81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153489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7D9751-CACC-CB29-B23D-7C8DE52F53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4C2AAE-8FCD-7874-A097-F92D73A6B8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s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ED3577-FB31-EF61-5C9A-60454FB2CB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s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03A919-FD9B-BC87-6FC5-354C96255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CBC6-E12D-4B94-AE09-EE65170EACF8}" type="datetimeFigureOut">
              <a:rPr lang="es-ES" smtClean="0"/>
              <a:t>02/04/2024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AAA15A-80EA-0486-DE57-513023A30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D796FF-D877-7FAC-579E-D29AF8D2C9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4F39B-73BC-4AA6-8B43-252A6C6D81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023345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8C7383-586B-EF72-3415-790906B99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68B2C4-0A14-BBAE-3655-2F8742C846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883E9D-FA96-C7E7-8F54-9610154B03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DE38EE-123B-C7B8-7801-8C4C96ABB9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25D165-85CA-179D-1C0C-C65501266D4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E65EF0D-5C32-7B3D-245C-55A8E586C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CBC6-E12D-4B94-AE09-EE65170EACF8}" type="datetimeFigureOut">
              <a:rPr lang="es-ES" smtClean="0"/>
              <a:t>02/04/2024</a:t>
            </a:fld>
            <a:endParaRPr lang="es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F2342DD-A6E2-D06D-4AEC-CEBFD13E9A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6AF4258-9BAF-170F-CD0E-541E990468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4F39B-73BC-4AA6-8B43-252A6C6D81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247138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0C8F63-5D68-8984-C13C-5032CC04A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s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22030E-6913-7BFD-11EC-D0B56A355E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CBC6-E12D-4B94-AE09-EE65170EACF8}" type="datetimeFigureOut">
              <a:rPr lang="es-ES" smtClean="0"/>
              <a:t>02/04/2024</a:t>
            </a:fld>
            <a:endParaRPr lang="es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B82CAC-9DA4-5747-3F99-53FB25748E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5B89E8-2F98-4402-BD64-8C09E9F83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4F39B-73BC-4AA6-8B43-252A6C6D81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965372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799530-B786-DC0C-0972-7CDA8504D9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CBC6-E12D-4B94-AE09-EE65170EACF8}" type="datetimeFigureOut">
              <a:rPr lang="es-ES" smtClean="0"/>
              <a:t>02/04/2024</a:t>
            </a:fld>
            <a:endParaRPr lang="es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BBC965-C6D7-0EFC-C12C-843C1FA81E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E5E7E1-B5AD-A198-F532-FCA1F2C44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4F39B-73BC-4AA6-8B43-252A6C6D81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76028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9C1815-AF3E-AB7F-A400-1A27A8534A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15E9AF-0640-AD36-621D-E782DF41AB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89F0E4-9A80-407D-1E1D-F609EC98B8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12DA86-BB89-770D-F289-85377404F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CBC6-E12D-4B94-AE09-EE65170EACF8}" type="datetimeFigureOut">
              <a:rPr lang="es-ES" smtClean="0"/>
              <a:t>02/04/2024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4B2227-8766-E18D-BED4-071F388FCA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E2357A-8C76-9413-8F3B-9A1566355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4F39B-73BC-4AA6-8B43-252A6C6D81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355543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69CF6F-8969-FE59-3333-2B0CDA0FC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s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87EE058-F396-7846-1002-841EA1FB6E9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9EF5AB-643D-F44D-5F18-08213E919A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518AD0-C912-FA3C-003C-8AF09F7471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CBC6-E12D-4B94-AE09-EE65170EACF8}" type="datetimeFigureOut">
              <a:rPr lang="es-ES" smtClean="0"/>
              <a:t>02/04/2024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E32BFF-0990-2F02-7F0E-391184B7E8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0886F3-8D0D-FC69-F1A2-CBA0C1BA7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4F39B-73BC-4AA6-8B43-252A6C6D81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109390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900535D-808B-6768-6C01-C5CE2CD69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E60C00-FE6B-75B9-3F8F-2833963902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8581E7-EBB4-C130-65CB-E8226A89C7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07CBC6-E12D-4B94-AE09-EE65170EACF8}" type="datetimeFigureOut">
              <a:rPr lang="es-ES" smtClean="0"/>
              <a:t>02/04/2024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9117DC-4192-82FB-A9C2-5B8DC0D62F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9C45E7-3698-3FCD-2E47-157A7A53F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24F39B-73BC-4AA6-8B43-252A6C6D81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39122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7.xml"/><Relationship Id="rId4" Type="http://schemas.openxmlformats.org/officeDocument/2006/relationships/hyperlink" Target="mailto:proveedoreseuropa@gruposantander.com?subject=Primeros%20pasos%20Santander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support.ariba.com/item/view/180235" TargetMode="External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12" Type="http://schemas.openxmlformats.org/officeDocument/2006/relationships/hyperlink" Target="https://support.ariba.com/item/view/205430_es" TargetMode="Externa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11" Type="http://schemas.openxmlformats.org/officeDocument/2006/relationships/hyperlink" Target="mailto:ProveedoresEuropa@gruposantander.com" TargetMode="External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.png"/><Relationship Id="rId4" Type="http://schemas.openxmlformats.org/officeDocument/2006/relationships/image" Target="../media/image3.jpg"/><Relationship Id="rId9" Type="http://schemas.openxmlformats.org/officeDocument/2006/relationships/hyperlink" Target="https://support.ariba.com/help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7B96B0D0-AEEC-7549-B9B6-BB0C47570D68}"/>
              </a:ext>
            </a:extLst>
          </p:cNvPr>
          <p:cNvSpPr/>
          <p:nvPr/>
        </p:nvSpPr>
        <p:spPr>
          <a:xfrm>
            <a:off x="-1" y="-838"/>
            <a:ext cx="9144000" cy="685800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s-ES_tradnl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5A34529F-E9A0-EA44-BAF2-C0E40BE902F7}"/>
              </a:ext>
            </a:extLst>
          </p:cNvPr>
          <p:cNvSpPr/>
          <p:nvPr/>
        </p:nvSpPr>
        <p:spPr>
          <a:xfrm>
            <a:off x="-1" y="747046"/>
            <a:ext cx="1519708" cy="731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5256">
              <a:lnSpc>
                <a:spcPct val="110000"/>
              </a:lnSpc>
              <a:defRPr/>
            </a:pPr>
            <a:r>
              <a:rPr lang="es-ES" sz="4000" b="1" kern="0" dirty="0">
                <a:solidFill>
                  <a:srgbClr val="EC0000"/>
                </a:solidFill>
                <a:latin typeface="Santander Headline" panose="020B0504020201020104" pitchFamily="34" charset="77"/>
                <a:ea typeface="ABC Normal Book" pitchFamily="2" charset="77"/>
                <a:cs typeface="Raleway"/>
                <a:sym typeface="Raleway"/>
              </a:rPr>
              <a:t>11</a:t>
            </a:r>
          </a:p>
        </p:txBody>
      </p:sp>
      <p:sp>
        <p:nvSpPr>
          <p:cNvPr id="8" name="Rectángulo 6">
            <a:extLst>
              <a:ext uri="{FF2B5EF4-FFF2-40B4-BE49-F238E27FC236}">
                <a16:creationId xmlns:a16="http://schemas.microsoft.com/office/drawing/2014/main" id="{D30A3D70-C504-40C3-A7B8-4F38282D8C5E}"/>
              </a:ext>
            </a:extLst>
          </p:cNvPr>
          <p:cNvSpPr/>
          <p:nvPr/>
        </p:nvSpPr>
        <p:spPr>
          <a:xfrm>
            <a:off x="604646" y="1773205"/>
            <a:ext cx="606285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5256">
              <a:lnSpc>
                <a:spcPct val="90000"/>
              </a:lnSpc>
              <a:defRPr/>
            </a:pPr>
            <a:r>
              <a:rPr lang="es-ES" sz="5000" b="1" kern="0" dirty="0">
                <a:solidFill>
                  <a:prstClr val="white"/>
                </a:solidFill>
                <a:latin typeface="Santander Headline" panose="020B0504020201020104" pitchFamily="34" charset="77"/>
                <a:ea typeface="ABC Normal Book" pitchFamily="2" charset="77"/>
                <a:cs typeface="Raleway"/>
                <a:sym typeface="Raleway"/>
              </a:rPr>
              <a:t>Tipos de cuenta en Business Network</a:t>
            </a:r>
          </a:p>
        </p:txBody>
      </p:sp>
      <p:pic>
        <p:nvPicPr>
          <p:cNvPr id="9" name="Picture 8" descr="Persona escribe en un portátil">
            <a:extLst>
              <a:ext uri="{FF2B5EF4-FFF2-40B4-BE49-F238E27FC236}">
                <a16:creationId xmlns:a16="http://schemas.microsoft.com/office/drawing/2014/main" id="{BD19672A-6162-4F52-99DB-32D24459D9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960" r="22096"/>
          <a:stretch/>
        </p:blipFill>
        <p:spPr>
          <a:xfrm>
            <a:off x="7568044" y="838"/>
            <a:ext cx="4623956" cy="6857162"/>
          </a:xfrm>
          <a:prstGeom prst="rect">
            <a:avLst/>
          </a:prstGeom>
        </p:spPr>
      </p:pic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1B292F33-BBA2-4798-8399-92BE388D405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189"/>
          <a:stretch/>
        </p:blipFill>
        <p:spPr>
          <a:xfrm>
            <a:off x="10629426" y="57977"/>
            <a:ext cx="1350818" cy="554219"/>
          </a:xfrm>
          <a:prstGeom prst="rect">
            <a:avLst/>
          </a:prstGeom>
          <a:noFill/>
        </p:spPr>
      </p:pic>
      <p:sp>
        <p:nvSpPr>
          <p:cNvPr id="5" name="Rectangle 26">
            <a:hlinkClick r:id="rId4"/>
            <a:extLst>
              <a:ext uri="{FF2B5EF4-FFF2-40B4-BE49-F238E27FC236}">
                <a16:creationId xmlns:a16="http://schemas.microsoft.com/office/drawing/2014/main" id="{00461E97-FE29-33CF-25A3-2DFB0852FF49}"/>
              </a:ext>
            </a:extLst>
          </p:cNvPr>
          <p:cNvSpPr/>
          <p:nvPr/>
        </p:nvSpPr>
        <p:spPr>
          <a:xfrm>
            <a:off x="8777924" y="5563389"/>
            <a:ext cx="2611338" cy="876589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  <a:effectLst>
            <a:outerShdw blurRad="50800" dist="38100" dir="2700000" sx="101000" sy="101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0" tIns="45720" rIns="36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04088">
              <a:spcBef>
                <a:spcPts val="462"/>
              </a:spcBef>
              <a:spcAft>
                <a:spcPts val="462"/>
              </a:spcAft>
              <a:defRPr/>
            </a:pPr>
            <a:r>
              <a:rPr lang="es-ES" b="1" kern="1200" dirty="0">
                <a:solidFill>
                  <a:srgbClr val="E5E3E3"/>
                </a:solidFill>
                <a:latin typeface="Santander Text" panose="020B0504020201020104" pitchFamily="34" charset="0"/>
                <a:ea typeface="+mn-ea"/>
                <a:cs typeface="+mn-cs"/>
              </a:rPr>
              <a:t>¿Necesitas ayuda?</a:t>
            </a:r>
            <a:endParaRPr lang="es-ES" b="1" kern="1200" dirty="0">
              <a:solidFill>
                <a:srgbClr val="E20000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60900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" descr="Grupo de personas que se comunican en torno a una mesa">
            <a:extLst>
              <a:ext uri="{FF2B5EF4-FFF2-40B4-BE49-F238E27FC236}">
                <a16:creationId xmlns:a16="http://schemas.microsoft.com/office/drawing/2014/main" id="{28721C98-5EB5-4B20-8422-40DFDD23995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3" t="9672" r="2943" b="11016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3" name="Rectangle: Rounded Corners 2">
            <a:hlinkClick r:id="rId3" action="ppaction://hlinksldjump"/>
            <a:extLst>
              <a:ext uri="{FF2B5EF4-FFF2-40B4-BE49-F238E27FC236}">
                <a16:creationId xmlns:a16="http://schemas.microsoft.com/office/drawing/2014/main" id="{29C8FA9D-94B7-402F-8CEF-50579834158E}"/>
              </a:ext>
            </a:extLst>
          </p:cNvPr>
          <p:cNvSpPr/>
          <p:nvPr/>
        </p:nvSpPr>
        <p:spPr>
          <a:xfrm>
            <a:off x="-510638" y="568036"/>
            <a:ext cx="3188524" cy="591127"/>
          </a:xfrm>
          <a:prstGeom prst="roundRect">
            <a:avLst>
              <a:gd name="adj" fmla="val 50000"/>
            </a:avLst>
          </a:prstGeom>
          <a:solidFill>
            <a:srgbClr val="E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s-ES" sz="3200" dirty="0">
                <a:latin typeface="Santander Text" panose="020B0504020201020104" pitchFamily="34" charset="0"/>
              </a:rPr>
              <a:t>Contenido</a:t>
            </a:r>
          </a:p>
        </p:txBody>
      </p:sp>
      <p:pic>
        <p:nvPicPr>
          <p:cNvPr id="15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6D2E0A5C-7EBD-DE3A-715C-3035F4069DF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189"/>
          <a:stretch/>
        </p:blipFill>
        <p:spPr>
          <a:xfrm>
            <a:off x="10629426" y="57977"/>
            <a:ext cx="1350818" cy="554219"/>
          </a:xfrm>
          <a:prstGeom prst="rect">
            <a:avLst/>
          </a:prstGeom>
          <a:noFill/>
        </p:spPr>
      </p:pic>
      <p:sp>
        <p:nvSpPr>
          <p:cNvPr id="4" name="Rectangle 16">
            <a:extLst>
              <a:ext uri="{FF2B5EF4-FFF2-40B4-BE49-F238E27FC236}">
                <a16:creationId xmlns:a16="http://schemas.microsoft.com/office/drawing/2014/main" id="{925A5B20-2668-D869-5450-32C20BBB8396}"/>
              </a:ext>
            </a:extLst>
          </p:cNvPr>
          <p:cNvSpPr/>
          <p:nvPr/>
        </p:nvSpPr>
        <p:spPr>
          <a:xfrm>
            <a:off x="767133" y="1840354"/>
            <a:ext cx="10628449" cy="81724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</a:ln>
        </p:spPr>
        <p:txBody>
          <a:bodyPr wrap="square" anchor="ctr">
            <a:spAutoFit/>
          </a:bodyPr>
          <a:lstStyle/>
          <a:p>
            <a:pPr marL="105750" algn="just" fontAlgn="base">
              <a:spcBef>
                <a:spcPts val="600"/>
              </a:spcBef>
              <a:spcAft>
                <a:spcPts val="1200"/>
              </a:spcAft>
              <a:defRPr/>
            </a:pPr>
            <a:r>
              <a:rPr lang="es-ES" sz="1400" dirty="0">
                <a:latin typeface="Santander Text" panose="020B0504020201020104" pitchFamily="34" charset="0"/>
                <a:cs typeface="Arial" charset="0"/>
              </a:rPr>
              <a:t>Durante su Registro en Business Network será necesario crear una cuenta en dicha plataforma. Entre las cuentas disponibles se encuentran las de tipo </a:t>
            </a:r>
            <a:r>
              <a:rPr lang="es-ES" sz="1400" b="1" dirty="0">
                <a:latin typeface="Santander Text" panose="020B0504020201020104" pitchFamily="34" charset="0"/>
                <a:cs typeface="Arial" charset="0"/>
              </a:rPr>
              <a:t>i) Standard </a:t>
            </a:r>
            <a:r>
              <a:rPr lang="es-ES" sz="1400" dirty="0">
                <a:latin typeface="Santander Text" panose="020B0504020201020104" pitchFamily="34" charset="0"/>
                <a:cs typeface="Arial" charset="0"/>
              </a:rPr>
              <a:t>y</a:t>
            </a:r>
            <a:r>
              <a:rPr lang="es-ES" sz="1400" b="1" dirty="0">
                <a:latin typeface="Santander Text" panose="020B0504020201020104" pitchFamily="34" charset="0"/>
                <a:cs typeface="Arial" charset="0"/>
              </a:rPr>
              <a:t> </a:t>
            </a:r>
            <a:r>
              <a:rPr lang="es-ES" sz="1400" b="1" dirty="0" err="1">
                <a:latin typeface="Santander Text" panose="020B0504020201020104" pitchFamily="34" charset="0"/>
                <a:cs typeface="Arial" charset="0"/>
              </a:rPr>
              <a:t>ii</a:t>
            </a:r>
            <a:r>
              <a:rPr lang="es-ES" sz="1400" b="1" dirty="0">
                <a:latin typeface="Santander Text" panose="020B0504020201020104" pitchFamily="34" charset="0"/>
                <a:cs typeface="Arial" charset="0"/>
              </a:rPr>
              <a:t>) Enterprise</a:t>
            </a:r>
            <a:r>
              <a:rPr lang="es-ES" sz="1400" dirty="0">
                <a:latin typeface="Santander Text" panose="020B0504020201020104" pitchFamily="34" charset="0"/>
                <a:cs typeface="Arial" charset="0"/>
              </a:rPr>
              <a:t>. La cuenta asignada por defecto será de tipo Standard, una cuenta gratuita que cubre todas sus necesidades para su operativa con </a:t>
            </a:r>
            <a:r>
              <a:rPr lang="es-ES" sz="1400" b="1" dirty="0">
                <a:solidFill>
                  <a:srgbClr val="FF0000"/>
                </a:solidFill>
                <a:latin typeface="Santander Text" panose="020B0504020201020104" pitchFamily="34" charset="0"/>
                <a:cs typeface="Arial" charset="0"/>
              </a:rPr>
              <a:t>Santander.</a:t>
            </a:r>
          </a:p>
        </p:txBody>
      </p:sp>
      <p:sp>
        <p:nvSpPr>
          <p:cNvPr id="5" name="Rectangle: Rounded Corners 36">
            <a:extLst>
              <a:ext uri="{FF2B5EF4-FFF2-40B4-BE49-F238E27FC236}">
                <a16:creationId xmlns:a16="http://schemas.microsoft.com/office/drawing/2014/main" id="{B4D84E67-88FE-6447-0B4D-1F690652095E}"/>
              </a:ext>
            </a:extLst>
          </p:cNvPr>
          <p:cNvSpPr/>
          <p:nvPr/>
        </p:nvSpPr>
        <p:spPr>
          <a:xfrm>
            <a:off x="664887" y="1189984"/>
            <a:ext cx="5239524" cy="4433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1" dirty="0" err="1">
                <a:solidFill>
                  <a:schemeClr val="tx1"/>
                </a:solidFill>
                <a:latin typeface="Santander Text" panose="020B0504020201020104" pitchFamily="34" charset="0"/>
              </a:rPr>
              <a:t>Tipos</a:t>
            </a:r>
            <a:r>
              <a:rPr lang="en-GB" sz="1400" b="1" dirty="0">
                <a:solidFill>
                  <a:schemeClr val="tx1"/>
                </a:solidFill>
                <a:latin typeface="Santander Text" panose="020B0504020201020104" pitchFamily="34" charset="0"/>
              </a:rPr>
              <a:t> de </a:t>
            </a:r>
            <a:r>
              <a:rPr lang="en-GB" sz="1400" b="1" dirty="0" err="1">
                <a:solidFill>
                  <a:schemeClr val="tx1"/>
                </a:solidFill>
                <a:latin typeface="Santander Text" panose="020B0504020201020104" pitchFamily="34" charset="0"/>
              </a:rPr>
              <a:t>cuenta</a:t>
            </a:r>
            <a:r>
              <a:rPr lang="en-GB" sz="1400" b="1" dirty="0">
                <a:solidFill>
                  <a:schemeClr val="tx1"/>
                </a:solidFill>
                <a:latin typeface="Santander Text" panose="020B0504020201020104" pitchFamily="34" charset="0"/>
              </a:rPr>
              <a:t> </a:t>
            </a:r>
            <a:r>
              <a:rPr lang="en-GB" sz="1400" b="1" dirty="0" err="1">
                <a:solidFill>
                  <a:schemeClr val="tx1"/>
                </a:solidFill>
                <a:latin typeface="Santander Text" panose="020B0504020201020104" pitchFamily="34" charset="0"/>
              </a:rPr>
              <a:t>en</a:t>
            </a:r>
            <a:r>
              <a:rPr lang="en-GB" sz="1400" b="1" dirty="0">
                <a:solidFill>
                  <a:schemeClr val="tx1"/>
                </a:solidFill>
                <a:latin typeface="Santander Text" panose="020B0504020201020104" pitchFamily="34" charset="0"/>
              </a:rPr>
              <a:t> Business Network</a:t>
            </a: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15F517B6-6A23-9E3E-0D41-9867775F2377}"/>
              </a:ext>
            </a:extLst>
          </p:cNvPr>
          <p:cNvSpPr txBox="1"/>
          <p:nvPr/>
        </p:nvSpPr>
        <p:spPr>
          <a:xfrm>
            <a:off x="767133" y="2864622"/>
            <a:ext cx="9030010" cy="1757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  <a:buClr>
                <a:srgbClr val="00D700"/>
              </a:buClr>
            </a:pPr>
            <a:r>
              <a:rPr lang="es-ES" sz="1400" dirty="0">
                <a:latin typeface="Santander Headline" panose="020B05040202010201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 esta sección encontrarás el siguiente </a:t>
            </a:r>
            <a:r>
              <a:rPr lang="es-ES" sz="1400" b="1" dirty="0">
                <a:latin typeface="Santander Headline" panose="020B05040202010201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tenido</a:t>
            </a:r>
            <a:r>
              <a:rPr lang="es-ES" sz="1400" dirty="0">
                <a:latin typeface="Santander Headline" panose="020B05040202010201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342900" indent="-342900">
              <a:lnSpc>
                <a:spcPct val="20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400" dirty="0" err="1">
                <a:latin typeface="Santander Headline" panose="020B05040202010201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pos</a:t>
            </a:r>
            <a:r>
              <a:rPr lang="en-US" sz="1400" dirty="0">
                <a:latin typeface="Santander Headline" panose="020B05040202010201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e Cuenta </a:t>
            </a:r>
            <a:r>
              <a:rPr lang="en-US" sz="1400" dirty="0" err="1">
                <a:latin typeface="Santander Headline" panose="020B05040202010201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</a:t>
            </a:r>
            <a:r>
              <a:rPr lang="en-US" sz="1400" dirty="0">
                <a:latin typeface="Santander Headline" panose="020B05040202010201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dirty="0" err="1">
                <a:latin typeface="Santander Headline" panose="020B05040202010201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sines</a:t>
            </a:r>
            <a:r>
              <a:rPr lang="en-US" sz="1400" dirty="0">
                <a:latin typeface="Santander Headline" panose="020B05040202010201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Network: Standard &amp; Enterprise</a:t>
            </a:r>
          </a:p>
          <a:p>
            <a:pPr marL="342900" indent="-342900">
              <a:lnSpc>
                <a:spcPct val="20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400" dirty="0" err="1">
                <a:latin typeface="Santander Headline" panose="020B05040202010201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racterísticas</a:t>
            </a:r>
            <a:r>
              <a:rPr lang="en-US" sz="1400" dirty="0">
                <a:latin typeface="Santander Headline" panose="020B05040202010201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e las </a:t>
            </a:r>
            <a:r>
              <a:rPr lang="en-US" sz="1400" dirty="0" err="1">
                <a:latin typeface="Santander Headline" panose="020B05040202010201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uentas</a:t>
            </a:r>
            <a:endParaRPr lang="en-US" sz="1400" dirty="0">
              <a:latin typeface="Santander Headline" panose="020B05040202010201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lnSpc>
                <a:spcPct val="150000"/>
              </a:lnSpc>
              <a:buClr>
                <a:srgbClr val="00D700"/>
              </a:buClr>
            </a:pPr>
            <a:endParaRPr lang="es-E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521767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" descr="Grupo de personas que se comunican en torno a una mesa">
            <a:extLst>
              <a:ext uri="{FF2B5EF4-FFF2-40B4-BE49-F238E27FC236}">
                <a16:creationId xmlns:a16="http://schemas.microsoft.com/office/drawing/2014/main" id="{28721C98-5EB5-4B20-8422-40DFDD23995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3" t="9672" r="2943" b="11016"/>
          <a:stretch/>
        </p:blipFill>
        <p:spPr>
          <a:xfrm>
            <a:off x="0" y="-54100"/>
            <a:ext cx="12192000" cy="6858001"/>
          </a:xfrm>
          <a:prstGeom prst="rect">
            <a:avLst/>
          </a:prstGeom>
        </p:spPr>
      </p:pic>
      <p:sp>
        <p:nvSpPr>
          <p:cNvPr id="3" name="Rectangle: Rounded Corners 2">
            <a:hlinkClick r:id="rId3" action="ppaction://hlinksldjump"/>
            <a:extLst>
              <a:ext uri="{FF2B5EF4-FFF2-40B4-BE49-F238E27FC236}">
                <a16:creationId xmlns:a16="http://schemas.microsoft.com/office/drawing/2014/main" id="{29C8FA9D-94B7-402F-8CEF-50579834158E}"/>
              </a:ext>
            </a:extLst>
          </p:cNvPr>
          <p:cNvSpPr/>
          <p:nvPr/>
        </p:nvSpPr>
        <p:spPr>
          <a:xfrm>
            <a:off x="-510639" y="568036"/>
            <a:ext cx="3810019" cy="591127"/>
          </a:xfrm>
          <a:prstGeom prst="roundRect">
            <a:avLst>
              <a:gd name="adj" fmla="val 50000"/>
            </a:avLst>
          </a:prstGeom>
          <a:solidFill>
            <a:srgbClr val="E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s-ES" sz="3200" dirty="0">
                <a:latin typeface="Santander Text" panose="020B0504020201020104" pitchFamily="34" charset="0"/>
              </a:rPr>
              <a:t>Tipos de cuenta</a:t>
            </a:r>
          </a:p>
        </p:txBody>
      </p:sp>
      <p:pic>
        <p:nvPicPr>
          <p:cNvPr id="15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6D2E0A5C-7EBD-DE3A-715C-3035F4069DF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189"/>
          <a:stretch/>
        </p:blipFill>
        <p:spPr>
          <a:xfrm>
            <a:off x="10629426" y="57977"/>
            <a:ext cx="1350818" cy="554219"/>
          </a:xfrm>
          <a:prstGeom prst="rect">
            <a:avLst/>
          </a:prstGeom>
          <a:noFill/>
        </p:spPr>
      </p:pic>
      <p:sp>
        <p:nvSpPr>
          <p:cNvPr id="44" name="Rectangle: Rounded Corners 20">
            <a:extLst>
              <a:ext uri="{FF2B5EF4-FFF2-40B4-BE49-F238E27FC236}">
                <a16:creationId xmlns:a16="http://schemas.microsoft.com/office/drawing/2014/main" id="{338CCEFB-BE80-D0A1-38F5-4E93A73A896B}"/>
              </a:ext>
            </a:extLst>
          </p:cNvPr>
          <p:cNvSpPr/>
          <p:nvPr/>
        </p:nvSpPr>
        <p:spPr>
          <a:xfrm>
            <a:off x="287867" y="2658827"/>
            <a:ext cx="4846733" cy="36554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Freeform: Shape 21">
            <a:extLst>
              <a:ext uri="{FF2B5EF4-FFF2-40B4-BE49-F238E27FC236}">
                <a16:creationId xmlns:a16="http://schemas.microsoft.com/office/drawing/2014/main" id="{D408ECCD-1045-EC97-92C3-C628317921D4}"/>
              </a:ext>
            </a:extLst>
          </p:cNvPr>
          <p:cNvSpPr/>
          <p:nvPr/>
        </p:nvSpPr>
        <p:spPr>
          <a:xfrm flipH="1">
            <a:off x="1390238" y="1811691"/>
            <a:ext cx="2298865" cy="644909"/>
          </a:xfrm>
          <a:custGeom>
            <a:avLst/>
            <a:gdLst>
              <a:gd name="connsiteX0" fmla="*/ 107487 w 2298865"/>
              <a:gd name="connsiteY0" fmla="*/ 0 h 644909"/>
              <a:gd name="connsiteX1" fmla="*/ 2298865 w 2298865"/>
              <a:gd name="connsiteY1" fmla="*/ 0 h 644909"/>
              <a:gd name="connsiteX2" fmla="*/ 2298865 w 2298865"/>
              <a:gd name="connsiteY2" fmla="*/ 0 h 644909"/>
              <a:gd name="connsiteX3" fmla="*/ 2298865 w 2298865"/>
              <a:gd name="connsiteY3" fmla="*/ 537422 h 644909"/>
              <a:gd name="connsiteX4" fmla="*/ 2191378 w 2298865"/>
              <a:gd name="connsiteY4" fmla="*/ 644909 h 644909"/>
              <a:gd name="connsiteX5" fmla="*/ 0 w 2298865"/>
              <a:gd name="connsiteY5" fmla="*/ 644909 h 644909"/>
              <a:gd name="connsiteX6" fmla="*/ 0 w 2298865"/>
              <a:gd name="connsiteY6" fmla="*/ 644909 h 644909"/>
              <a:gd name="connsiteX7" fmla="*/ 0 w 2298865"/>
              <a:gd name="connsiteY7" fmla="*/ 107487 h 644909"/>
              <a:gd name="connsiteX8" fmla="*/ 107487 w 2298865"/>
              <a:gd name="connsiteY8" fmla="*/ 0 h 644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98865" h="644909">
                <a:moveTo>
                  <a:pt x="107487" y="0"/>
                </a:moveTo>
                <a:lnTo>
                  <a:pt x="2298865" y="0"/>
                </a:lnTo>
                <a:lnTo>
                  <a:pt x="2298865" y="0"/>
                </a:lnTo>
                <a:lnTo>
                  <a:pt x="2298865" y="537422"/>
                </a:lnTo>
                <a:cubicBezTo>
                  <a:pt x="2298865" y="596785"/>
                  <a:pt x="2250741" y="644909"/>
                  <a:pt x="2191378" y="644909"/>
                </a:cubicBezTo>
                <a:lnTo>
                  <a:pt x="0" y="644909"/>
                </a:lnTo>
                <a:lnTo>
                  <a:pt x="0" y="644909"/>
                </a:lnTo>
                <a:lnTo>
                  <a:pt x="0" y="107487"/>
                </a:lnTo>
                <a:cubicBezTo>
                  <a:pt x="0" y="48124"/>
                  <a:pt x="48124" y="0"/>
                  <a:pt x="107487" y="0"/>
                </a:cubicBezTo>
                <a:close/>
              </a:path>
            </a:pathLst>
          </a:custGeom>
          <a:solidFill>
            <a:schemeClr val="bg1"/>
          </a:solidFill>
          <a:ln w="28575" cap="flat" cmpd="sng" algn="ctr">
            <a:solidFill>
              <a:srgbClr val="E20000"/>
            </a:solidFill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21515" tIns="31482" rIns="321515" bIns="31482" numCol="1" spcCol="1270" anchor="ctr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solidFill>
                  <a:srgbClr val="E20000"/>
                </a:solidFill>
                <a:latin typeface="Santander Text" panose="020B0504020201020104" pitchFamily="34" charset="0"/>
              </a:rPr>
              <a:t>Tipo de </a:t>
            </a:r>
            <a:r>
              <a:rPr lang="en-US" sz="1600" b="1" dirty="0" err="1">
                <a:solidFill>
                  <a:srgbClr val="E20000"/>
                </a:solidFill>
                <a:latin typeface="Santander Text" panose="020B0504020201020104" pitchFamily="34" charset="0"/>
              </a:rPr>
              <a:t>cuenta</a:t>
            </a:r>
            <a:endParaRPr lang="en-US" sz="1600" b="1" dirty="0">
              <a:solidFill>
                <a:srgbClr val="E20000"/>
              </a:solidFill>
              <a:latin typeface="Santander Text" panose="020B0504020201020104" pitchFamily="34" charset="0"/>
            </a:endParaRPr>
          </a:p>
        </p:txBody>
      </p:sp>
      <p:sp>
        <p:nvSpPr>
          <p:cNvPr id="46" name="CuadroTexto 5">
            <a:extLst>
              <a:ext uri="{FF2B5EF4-FFF2-40B4-BE49-F238E27FC236}">
                <a16:creationId xmlns:a16="http://schemas.microsoft.com/office/drawing/2014/main" id="{58859E7B-E150-4F70-E88B-8BB736601A18}"/>
              </a:ext>
            </a:extLst>
          </p:cNvPr>
          <p:cNvSpPr txBox="1"/>
          <p:nvPr/>
        </p:nvSpPr>
        <p:spPr>
          <a:xfrm>
            <a:off x="287868" y="3030788"/>
            <a:ext cx="4846732" cy="2631490"/>
          </a:xfrm>
          <a:prstGeom prst="rect">
            <a:avLst/>
          </a:prstGeom>
          <a:noFill/>
        </p:spPr>
        <p:txBody>
          <a:bodyPr wrap="square" lIns="360000" rtlCol="0">
            <a:spAutoFit/>
          </a:bodyPr>
          <a:lstStyle/>
          <a:p>
            <a:pPr marL="105750" marR="0" lvl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Cuenta Standard</a:t>
            </a:r>
          </a:p>
          <a:p>
            <a:pPr marL="105750" algn="just" fontAlgn="base">
              <a:spcBef>
                <a:spcPct val="0"/>
              </a:spcBef>
              <a:spcAft>
                <a:spcPts val="1800"/>
              </a:spcAft>
              <a:defRPr/>
            </a:pPr>
            <a:r>
              <a:rPr lang="es-ES" sz="1400" dirty="0">
                <a:cs typeface="Arial" charset="0"/>
              </a:rPr>
              <a:t>Son cuentas gratuitas y fáciles de usar en Business Network que permiten que los proveedores intercambien un número ilimitado de documentos básicos o incluso hacer un catálogo. </a:t>
            </a:r>
            <a:r>
              <a:rPr lang="es-ES" sz="1400" u="sng" dirty="0">
                <a:cs typeface="Arial" charset="0"/>
              </a:rPr>
              <a:t>Esta cuenta permite operar con normalidad con Grupo Santander sin necesidad de un </a:t>
            </a:r>
            <a:r>
              <a:rPr lang="es-ES" sz="1400" u="sng" dirty="0" err="1">
                <a:cs typeface="Arial" charset="0"/>
              </a:rPr>
              <a:t>Upgrade</a:t>
            </a:r>
            <a:r>
              <a:rPr lang="es-ES" sz="1400" u="sng" dirty="0">
                <a:cs typeface="Arial" charset="0"/>
              </a:rPr>
              <a:t> a cuenta Enterprise</a:t>
            </a:r>
          </a:p>
          <a:p>
            <a:pPr marL="105750" marR="0" lvl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Cuenta Enterprise</a:t>
            </a:r>
          </a:p>
          <a:p>
            <a:pPr marL="105750" marR="0" lvl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s-E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Dan acceso a 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todas las funciones</a:t>
            </a:r>
            <a:r>
              <a:rPr kumimoji="0" lang="es-E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 de proveedor de Business Network y pueden conllevar tasas de suscripción</a:t>
            </a:r>
            <a:endParaRPr kumimoji="0" lang="en-GB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Arial" charset="0"/>
            </a:endParaRPr>
          </a:p>
        </p:txBody>
      </p:sp>
      <p:sp>
        <p:nvSpPr>
          <p:cNvPr id="47" name="Oval 97">
            <a:extLst>
              <a:ext uri="{FF2B5EF4-FFF2-40B4-BE49-F238E27FC236}">
                <a16:creationId xmlns:a16="http://schemas.microsoft.com/office/drawing/2014/main" id="{B9867D15-B4A9-1553-4BC2-529AE0EB2CA4}"/>
              </a:ext>
            </a:extLst>
          </p:cNvPr>
          <p:cNvSpPr/>
          <p:nvPr/>
        </p:nvSpPr>
        <p:spPr>
          <a:xfrm>
            <a:off x="358813" y="3043375"/>
            <a:ext cx="331598" cy="323562"/>
          </a:xfrm>
          <a:prstGeom prst="ellipse">
            <a:avLst/>
          </a:prstGeom>
          <a:solidFill>
            <a:srgbClr val="E20000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eaLnBrk="0" hangingPunct="0">
              <a:defRPr/>
            </a:pPr>
            <a:r>
              <a:rPr lang="en-GB" sz="15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GB" sz="21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8" name="Connector: Elbow 25">
            <a:extLst>
              <a:ext uri="{FF2B5EF4-FFF2-40B4-BE49-F238E27FC236}">
                <a16:creationId xmlns:a16="http://schemas.microsoft.com/office/drawing/2014/main" id="{8064492B-0170-68D4-69BE-790923877654}"/>
              </a:ext>
            </a:extLst>
          </p:cNvPr>
          <p:cNvCxnSpPr>
            <a:cxnSpLocks/>
            <a:stCxn id="45" idx="4"/>
            <a:endCxn id="44" idx="0"/>
          </p:cNvCxnSpPr>
          <p:nvPr/>
        </p:nvCxnSpPr>
        <p:spPr>
          <a:xfrm rot="10800000" flipH="1" flipV="1">
            <a:off x="1497724" y="2456599"/>
            <a:ext cx="1213509" cy="202227"/>
          </a:xfrm>
          <a:prstGeom prst="bentConnector4">
            <a:avLst>
              <a:gd name="adj1" fmla="val -18838"/>
              <a:gd name="adj2" fmla="val 50000"/>
            </a:avLst>
          </a:prstGeom>
          <a:ln w="28575">
            <a:solidFill>
              <a:srgbClr val="E2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97">
            <a:extLst>
              <a:ext uri="{FF2B5EF4-FFF2-40B4-BE49-F238E27FC236}">
                <a16:creationId xmlns:a16="http://schemas.microsoft.com/office/drawing/2014/main" id="{52FAF9AC-67D6-EE17-7FCD-5CD03D83F47F}"/>
              </a:ext>
            </a:extLst>
          </p:cNvPr>
          <p:cNvSpPr/>
          <p:nvPr/>
        </p:nvSpPr>
        <p:spPr>
          <a:xfrm>
            <a:off x="358813" y="4821290"/>
            <a:ext cx="331598" cy="323562"/>
          </a:xfrm>
          <a:prstGeom prst="ellipse">
            <a:avLst/>
          </a:prstGeom>
          <a:solidFill>
            <a:srgbClr val="E20000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eaLnBrk="0" hangingPunct="0">
              <a:defRPr/>
            </a:pPr>
            <a:r>
              <a:rPr lang="en-GB" sz="15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0" name="Slide Number Placeholder 2">
            <a:extLst>
              <a:ext uri="{FF2B5EF4-FFF2-40B4-BE49-F238E27FC236}">
                <a16:creationId xmlns:a16="http://schemas.microsoft.com/office/drawing/2014/main" id="{18441092-04AF-75D4-AD2E-69853A62AD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C0D97B6-E32F-4D7D-B839-7C3B51F2640F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1" name="Picture 7">
            <a:extLst>
              <a:ext uri="{FF2B5EF4-FFF2-40B4-BE49-F238E27FC236}">
                <a16:creationId xmlns:a16="http://schemas.microsoft.com/office/drawing/2014/main" id="{6842E3E8-E96D-D7BB-CB12-4E3E4AD06D5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8682" b="-3049"/>
          <a:stretch/>
        </p:blipFill>
        <p:spPr>
          <a:xfrm>
            <a:off x="5541584" y="2094984"/>
            <a:ext cx="6138031" cy="4219325"/>
          </a:xfrm>
          <a:prstGeom prst="rect">
            <a:avLst/>
          </a:prstGeom>
          <a:ln w="76200">
            <a:solidFill>
              <a:srgbClr val="E20000"/>
            </a:solidFill>
          </a:ln>
        </p:spPr>
      </p:pic>
      <p:grpSp>
        <p:nvGrpSpPr>
          <p:cNvPr id="52" name="Group 14">
            <a:extLst>
              <a:ext uri="{FF2B5EF4-FFF2-40B4-BE49-F238E27FC236}">
                <a16:creationId xmlns:a16="http://schemas.microsoft.com/office/drawing/2014/main" id="{96391277-2ED6-E76C-C2AA-555A589DF111}"/>
              </a:ext>
            </a:extLst>
          </p:cNvPr>
          <p:cNvGrpSpPr/>
          <p:nvPr/>
        </p:nvGrpSpPr>
        <p:grpSpPr>
          <a:xfrm>
            <a:off x="7221959" y="1723973"/>
            <a:ext cx="2045927" cy="350177"/>
            <a:chOff x="17879" y="1781812"/>
            <a:chExt cx="3839153" cy="831632"/>
          </a:xfrm>
        </p:grpSpPr>
        <p:sp>
          <p:nvSpPr>
            <p:cNvPr id="53" name="Rectangle: Rounded Corners 20">
              <a:extLst>
                <a:ext uri="{FF2B5EF4-FFF2-40B4-BE49-F238E27FC236}">
                  <a16:creationId xmlns:a16="http://schemas.microsoft.com/office/drawing/2014/main" id="{F8918556-B4A4-C80D-79A9-7857C2835E3C}"/>
                </a:ext>
              </a:extLst>
            </p:cNvPr>
            <p:cNvSpPr/>
            <p:nvPr/>
          </p:nvSpPr>
          <p:spPr>
            <a:xfrm>
              <a:off x="17879" y="1781812"/>
              <a:ext cx="3839153" cy="831632"/>
            </a:xfrm>
            <a:prstGeom prst="roundRect">
              <a:avLst>
                <a:gd name="adj" fmla="val 3280"/>
              </a:avLst>
            </a:prstGeom>
            <a:solidFill>
              <a:srgbClr val="E2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108000" r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</a:endParaRPr>
            </a:p>
          </p:txBody>
        </p:sp>
        <p:cxnSp>
          <p:nvCxnSpPr>
            <p:cNvPr id="54" name="Straight Connector 22">
              <a:extLst>
                <a:ext uri="{FF2B5EF4-FFF2-40B4-BE49-F238E27FC236}">
                  <a16:creationId xmlns:a16="http://schemas.microsoft.com/office/drawing/2014/main" id="{E79B7788-E78E-1CCA-C5D7-2615E34B6CCE}"/>
                </a:ext>
              </a:extLst>
            </p:cNvPr>
            <p:cNvCxnSpPr>
              <a:cxnSpLocks/>
            </p:cNvCxnSpPr>
            <p:nvPr/>
          </p:nvCxnSpPr>
          <p:spPr>
            <a:xfrm>
              <a:off x="132735" y="2405798"/>
              <a:ext cx="3618820" cy="0"/>
            </a:xfrm>
            <a:prstGeom prst="line">
              <a:avLst/>
            </a:prstGeom>
            <a:noFill/>
            <a:ln w="28575" cap="flat" cmpd="sng" algn="ctr">
              <a:solidFill>
                <a:srgbClr val="FFFFFF"/>
              </a:solidFill>
              <a:prstDash val="solid"/>
            </a:ln>
            <a:effectLst/>
          </p:spPr>
        </p:cxnSp>
        <p:sp>
          <p:nvSpPr>
            <p:cNvPr id="55" name="TextBox 24">
              <a:extLst>
                <a:ext uri="{FF2B5EF4-FFF2-40B4-BE49-F238E27FC236}">
                  <a16:creationId xmlns:a16="http://schemas.microsoft.com/office/drawing/2014/main" id="{78EDA144-62EF-ABB9-04BA-42244C558125}"/>
                </a:ext>
              </a:extLst>
            </p:cNvPr>
            <p:cNvSpPr txBox="1"/>
            <p:nvPr/>
          </p:nvSpPr>
          <p:spPr>
            <a:xfrm>
              <a:off x="132735" y="1889542"/>
              <a:ext cx="3618818" cy="4760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antander Headline" panose="020B0504020201020104" pitchFamily="34" charset="0"/>
                  <a:cs typeface="Arial" charset="0"/>
                </a:rPr>
                <a:t>Cuenta Standard</a:t>
              </a:r>
            </a:p>
          </p:txBody>
        </p:sp>
      </p:grpSp>
      <p:grpSp>
        <p:nvGrpSpPr>
          <p:cNvPr id="56" name="Group 14">
            <a:extLst>
              <a:ext uri="{FF2B5EF4-FFF2-40B4-BE49-F238E27FC236}">
                <a16:creationId xmlns:a16="http://schemas.microsoft.com/office/drawing/2014/main" id="{548F085E-5DF3-DF8A-E22B-930FEBF05486}"/>
              </a:ext>
            </a:extLst>
          </p:cNvPr>
          <p:cNvGrpSpPr/>
          <p:nvPr/>
        </p:nvGrpSpPr>
        <p:grpSpPr>
          <a:xfrm>
            <a:off x="9423293" y="1726997"/>
            <a:ext cx="2045927" cy="341245"/>
            <a:chOff x="17879" y="1803025"/>
            <a:chExt cx="3839153" cy="810419"/>
          </a:xfrm>
        </p:grpSpPr>
        <p:sp>
          <p:nvSpPr>
            <p:cNvPr id="57" name="Rectangle: Rounded Corners 20">
              <a:extLst>
                <a:ext uri="{FF2B5EF4-FFF2-40B4-BE49-F238E27FC236}">
                  <a16:creationId xmlns:a16="http://schemas.microsoft.com/office/drawing/2014/main" id="{1B21C63D-4BD0-5E72-139B-CFEE91FAF326}"/>
                </a:ext>
              </a:extLst>
            </p:cNvPr>
            <p:cNvSpPr/>
            <p:nvPr/>
          </p:nvSpPr>
          <p:spPr>
            <a:xfrm>
              <a:off x="17879" y="1803025"/>
              <a:ext cx="3839153" cy="810419"/>
            </a:xfrm>
            <a:prstGeom prst="roundRect">
              <a:avLst>
                <a:gd name="adj" fmla="val 3280"/>
              </a:avLst>
            </a:prstGeom>
            <a:solidFill>
              <a:srgbClr val="E2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108000" r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</a:endParaRPr>
            </a:p>
          </p:txBody>
        </p:sp>
        <p:cxnSp>
          <p:nvCxnSpPr>
            <p:cNvPr id="58" name="Straight Connector 22">
              <a:extLst>
                <a:ext uri="{FF2B5EF4-FFF2-40B4-BE49-F238E27FC236}">
                  <a16:creationId xmlns:a16="http://schemas.microsoft.com/office/drawing/2014/main" id="{A870576F-DFE7-1926-1DD2-08FB6EEF4E74}"/>
                </a:ext>
              </a:extLst>
            </p:cNvPr>
            <p:cNvCxnSpPr>
              <a:cxnSpLocks/>
            </p:cNvCxnSpPr>
            <p:nvPr/>
          </p:nvCxnSpPr>
          <p:spPr>
            <a:xfrm>
              <a:off x="132735" y="2405798"/>
              <a:ext cx="3618820" cy="0"/>
            </a:xfrm>
            <a:prstGeom prst="line">
              <a:avLst/>
            </a:prstGeom>
            <a:noFill/>
            <a:ln w="28575" cap="flat" cmpd="sng" algn="ctr">
              <a:solidFill>
                <a:srgbClr val="FFFFFF"/>
              </a:solidFill>
              <a:prstDash val="solid"/>
            </a:ln>
            <a:effectLst/>
          </p:spPr>
        </p:cxnSp>
        <p:sp>
          <p:nvSpPr>
            <p:cNvPr id="59" name="TextBox 24">
              <a:extLst>
                <a:ext uri="{FF2B5EF4-FFF2-40B4-BE49-F238E27FC236}">
                  <a16:creationId xmlns:a16="http://schemas.microsoft.com/office/drawing/2014/main" id="{8BAE7B72-9840-4725-93D8-2F49AD52CAD5}"/>
                </a:ext>
              </a:extLst>
            </p:cNvPr>
            <p:cNvSpPr txBox="1"/>
            <p:nvPr/>
          </p:nvSpPr>
          <p:spPr>
            <a:xfrm>
              <a:off x="132735" y="1889540"/>
              <a:ext cx="3618818" cy="4760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antander Headline" panose="020B0504020201020104" pitchFamily="34" charset="0"/>
                  <a:cs typeface="Arial" charset="0"/>
                </a:rPr>
                <a:t>Cuenta Enterprise*</a:t>
              </a:r>
            </a:p>
          </p:txBody>
        </p:sp>
      </p:grpSp>
      <p:sp>
        <p:nvSpPr>
          <p:cNvPr id="60" name="Oval 97">
            <a:extLst>
              <a:ext uri="{FF2B5EF4-FFF2-40B4-BE49-F238E27FC236}">
                <a16:creationId xmlns:a16="http://schemas.microsoft.com/office/drawing/2014/main" id="{163AFDF7-6EBA-3F2B-5876-5E39270624EF}"/>
              </a:ext>
            </a:extLst>
          </p:cNvPr>
          <p:cNvSpPr/>
          <p:nvPr/>
        </p:nvSpPr>
        <p:spPr>
          <a:xfrm>
            <a:off x="7166869" y="1682249"/>
            <a:ext cx="232595" cy="212427"/>
          </a:xfrm>
          <a:prstGeom prst="ellipse">
            <a:avLst/>
          </a:prstGeom>
          <a:solidFill>
            <a:srgbClr val="E20000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eaLnBrk="0" hangingPunct="0">
              <a:defRPr/>
            </a:pPr>
            <a:r>
              <a:rPr lang="en-GB" sz="15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GB" sz="21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Oval 97">
            <a:extLst>
              <a:ext uri="{FF2B5EF4-FFF2-40B4-BE49-F238E27FC236}">
                <a16:creationId xmlns:a16="http://schemas.microsoft.com/office/drawing/2014/main" id="{7DCC4D34-FCDB-C3F7-229A-721ED8C1FB6D}"/>
              </a:ext>
            </a:extLst>
          </p:cNvPr>
          <p:cNvSpPr/>
          <p:nvPr/>
        </p:nvSpPr>
        <p:spPr>
          <a:xfrm>
            <a:off x="9367082" y="1682249"/>
            <a:ext cx="232595" cy="212427"/>
          </a:xfrm>
          <a:prstGeom prst="ellipse">
            <a:avLst/>
          </a:prstGeom>
          <a:solidFill>
            <a:srgbClr val="E20000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eaLnBrk="0" hangingPunct="0">
              <a:defRPr/>
            </a:pPr>
            <a:r>
              <a:rPr lang="en-GB" sz="15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GB" sz="21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4077BDA8-A359-C950-4F86-1E53A7BA13E3}"/>
              </a:ext>
            </a:extLst>
          </p:cNvPr>
          <p:cNvSpPr txBox="1"/>
          <p:nvPr/>
        </p:nvSpPr>
        <p:spPr>
          <a:xfrm>
            <a:off x="690411" y="2681175"/>
            <a:ext cx="42617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u="sng" dirty="0"/>
              <a:t>Por defecto, se asigna una cuenta Standard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id="{F0B2ECD4-6559-D69D-2345-65B30E2AFD37}"/>
              </a:ext>
            </a:extLst>
          </p:cNvPr>
          <p:cNvSpPr txBox="1"/>
          <p:nvPr/>
        </p:nvSpPr>
        <p:spPr>
          <a:xfrm>
            <a:off x="690412" y="6418071"/>
            <a:ext cx="97507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altLang="es-ES" sz="1400" dirty="0">
                <a:latin typeface="Santander Text" panose="020B0504020201020104" pitchFamily="34" charset="0"/>
                <a:cs typeface="Arial" panose="020B0604020202020204" pitchFamily="34" charset="0"/>
              </a:rPr>
              <a:t>*Para más información sobre cómo realizar un </a:t>
            </a:r>
            <a:r>
              <a:rPr lang="es-ES" altLang="es-ES" sz="1400" b="1" dirty="0">
                <a:latin typeface="Santander Text" panose="020B0504020201020104" pitchFamily="34" charset="0"/>
                <a:cs typeface="Arial" panose="020B0604020202020204" pitchFamily="34" charset="0"/>
              </a:rPr>
              <a:t>downgrade</a:t>
            </a:r>
            <a:r>
              <a:rPr lang="es-ES" altLang="es-ES" sz="1400" dirty="0">
                <a:latin typeface="Santander Text" panose="020B0504020201020104" pitchFamily="34" charset="0"/>
                <a:cs typeface="Arial" panose="020B0604020202020204" pitchFamily="34" charset="0"/>
              </a:rPr>
              <a:t> de tu cuenta y volver a la cuenta Standard, accede al siguiente</a:t>
            </a:r>
            <a:r>
              <a:rPr lang="es-ES" altLang="es-ES" sz="1800" i="1" dirty="0">
                <a:solidFill>
                  <a:prstClr val="black">
                    <a:lumMod val="50000"/>
                    <a:lumOff val="50000"/>
                  </a:prstClr>
                </a:solidFill>
                <a:latin typeface="Santander Text" panose="020B0504020201020104"/>
              </a:rPr>
              <a:t> </a:t>
            </a:r>
            <a:r>
              <a:rPr kumimoji="0" lang="en-US" altLang="es-ES" sz="14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Santander Text" panose="020B0504020201020104"/>
                <a:ea typeface="Calibri" panose="020F0502020204030204" pitchFamily="34" charset="0"/>
                <a:cs typeface="+mn-cs"/>
                <a:hlinkClick r:id="rId6"/>
              </a:rPr>
              <a:t>link</a:t>
            </a:r>
            <a:endParaRPr kumimoji="0" lang="es-ES" altLang="es-ES" sz="14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Santander Text" panose="020B0504020201020104"/>
              <a:ea typeface="Calibri" panose="020F0502020204030204" pitchFamily="34" charset="0"/>
              <a:cs typeface="+mn-cs"/>
            </a:endParaRPr>
          </a:p>
        </p:txBody>
      </p:sp>
      <p:sp>
        <p:nvSpPr>
          <p:cNvPr id="67" name="CuadroTexto 66">
            <a:extLst>
              <a:ext uri="{FF2B5EF4-FFF2-40B4-BE49-F238E27FC236}">
                <a16:creationId xmlns:a16="http://schemas.microsoft.com/office/drawing/2014/main" id="{EEC452A5-FEA4-0049-1D5C-1FEEC92689A6}"/>
              </a:ext>
            </a:extLst>
          </p:cNvPr>
          <p:cNvSpPr txBox="1"/>
          <p:nvPr/>
        </p:nvSpPr>
        <p:spPr>
          <a:xfrm>
            <a:off x="287868" y="1264363"/>
            <a:ext cx="115627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5750" algn="just" fontAlgn="base">
              <a:spcBef>
                <a:spcPts val="600"/>
              </a:spcBef>
              <a:spcAft>
                <a:spcPts val="1200"/>
              </a:spcAft>
              <a:defRPr/>
            </a:pPr>
            <a:r>
              <a:rPr lang="es-ES" sz="1400" dirty="0">
                <a:latin typeface="Santander Text" panose="020B0504020201020104" pitchFamily="34" charset="0"/>
                <a:cs typeface="Arial" charset="0"/>
              </a:rPr>
              <a:t>El proveedor es libre de elegir cualquier tipo de cuenta </a:t>
            </a:r>
            <a:r>
              <a:rPr lang="es-ES" sz="1400" b="1" dirty="0">
                <a:latin typeface="Santander Text" panose="020B0504020201020104" pitchFamily="34" charset="0"/>
                <a:cs typeface="Arial" charset="0"/>
              </a:rPr>
              <a:t>Standard</a:t>
            </a:r>
            <a:r>
              <a:rPr lang="es-ES" sz="1400" dirty="0">
                <a:latin typeface="Santander Text" panose="020B0504020201020104" pitchFamily="34" charset="0"/>
                <a:cs typeface="Arial" charset="0"/>
              </a:rPr>
              <a:t>/</a:t>
            </a:r>
            <a:r>
              <a:rPr lang="es-ES" sz="1400" b="1" dirty="0">
                <a:latin typeface="Santander Text" panose="020B0504020201020104" pitchFamily="34" charset="0"/>
                <a:cs typeface="Arial" charset="0"/>
              </a:rPr>
              <a:t>Enterprise</a:t>
            </a:r>
            <a:r>
              <a:rPr lang="es-ES" sz="1400" dirty="0">
                <a:latin typeface="Santander Text" panose="020B0504020201020104" pitchFamily="34" charset="0"/>
                <a:cs typeface="Arial" charset="0"/>
              </a:rPr>
              <a:t> que mejor le convenga en sus relaciones comerciales con </a:t>
            </a:r>
            <a:r>
              <a:rPr lang="es-ES" sz="1400" b="1" dirty="0">
                <a:latin typeface="Santander Text" panose="020B0504020201020104" pitchFamily="34" charset="0"/>
                <a:cs typeface="Arial" charset="0"/>
              </a:rPr>
              <a:t>Grupo Santander.</a:t>
            </a:r>
            <a:endParaRPr lang="es-ES" sz="1400" dirty="0">
              <a:latin typeface="Santander Text" panose="020B05040202010201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35787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2" descr="Grupo de personas que se comunican en torno a una mesa">
            <a:extLst>
              <a:ext uri="{FF2B5EF4-FFF2-40B4-BE49-F238E27FC236}">
                <a16:creationId xmlns:a16="http://schemas.microsoft.com/office/drawing/2014/main" id="{28721C98-5EB5-4B20-8422-40DFDD23995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3" t="9672" r="2943" b="11016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8886063-BE98-402E-8342-0CC6A4B8A224}"/>
              </a:ext>
            </a:extLst>
          </p:cNvPr>
          <p:cNvSpPr/>
          <p:nvPr/>
        </p:nvSpPr>
        <p:spPr>
          <a:xfrm>
            <a:off x="-488865" y="568036"/>
            <a:ext cx="4064143" cy="591127"/>
          </a:xfrm>
          <a:prstGeom prst="roundRect">
            <a:avLst>
              <a:gd name="adj" fmla="val 50000"/>
            </a:avLst>
          </a:prstGeom>
          <a:solidFill>
            <a:srgbClr val="E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3200" dirty="0" err="1">
                <a:latin typeface="Santander Text" panose="020B0504020201020104" pitchFamily="34" charset="0"/>
              </a:rPr>
              <a:t>Contacto</a:t>
            </a:r>
            <a:r>
              <a:rPr lang="en-GB" sz="3200" dirty="0">
                <a:latin typeface="Santander Text" panose="020B0504020201020104" pitchFamily="34" charset="0"/>
              </a:rPr>
              <a:t> - </a:t>
            </a:r>
            <a:r>
              <a:rPr lang="en-GB" sz="3200" dirty="0" err="1">
                <a:latin typeface="Santander Text" panose="020B0504020201020104" pitchFamily="34" charset="0"/>
              </a:rPr>
              <a:t>Ayuda</a:t>
            </a:r>
            <a:endParaRPr lang="en-GB" sz="3200" dirty="0">
              <a:latin typeface="Santander Text" panose="020B0504020201020104" pitchFamily="34" charset="0"/>
            </a:endParaRPr>
          </a:p>
        </p:txBody>
      </p:sp>
      <p:pic>
        <p:nvPicPr>
          <p:cNvPr id="6" name="Picture 5" descr="A lit up sign on a window&#10;&#10;Description automatically generated">
            <a:extLst>
              <a:ext uri="{FF2B5EF4-FFF2-40B4-BE49-F238E27FC236}">
                <a16:creationId xmlns:a16="http://schemas.microsoft.com/office/drawing/2014/main" id="{65F92EB1-DC40-45D8-8C6F-4D970B3F36D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0007" y="1"/>
            <a:ext cx="6003235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07440F3-7640-4FDE-AF00-B7CD3FF5F159}"/>
              </a:ext>
            </a:extLst>
          </p:cNvPr>
          <p:cNvSpPr/>
          <p:nvPr/>
        </p:nvSpPr>
        <p:spPr>
          <a:xfrm>
            <a:off x="959710" y="3042199"/>
            <a:ext cx="413891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err="1">
                <a:solidFill>
                  <a:srgbClr val="000000"/>
                </a:solidFill>
                <a:latin typeface="Santander Text" panose="020B0504020201020104" pitchFamily="34" charset="0"/>
              </a:rPr>
              <a:t>Soporte</a:t>
            </a:r>
            <a:r>
              <a:rPr lang="en-US" sz="1600" b="1" dirty="0">
                <a:solidFill>
                  <a:srgbClr val="000000"/>
                </a:solidFill>
                <a:latin typeface="Santander Text" panose="020B0504020201020104" pitchFamily="34" charset="0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Santander Text" panose="020B0504020201020104" pitchFamily="34" charset="0"/>
              </a:rPr>
              <a:t>técnico</a:t>
            </a:r>
            <a:endParaRPr lang="en-US" sz="1600" b="1" dirty="0">
              <a:solidFill>
                <a:srgbClr val="000000"/>
              </a:solidFill>
              <a:latin typeface="Santander Text" panose="020B0504020201020104" pitchFamily="34" charset="0"/>
            </a:endParaRPr>
          </a:p>
          <a:p>
            <a:r>
              <a:rPr lang="en-US" sz="1600" dirty="0" err="1">
                <a:solidFill>
                  <a:srgbClr val="000000"/>
                </a:solidFill>
                <a:latin typeface="Santander Text" panose="020B0504020201020104" pitchFamily="34" charset="0"/>
                <a:hlinkClick r:id="rId9"/>
              </a:rPr>
              <a:t>Haga</a:t>
            </a:r>
            <a:r>
              <a:rPr lang="en-US" sz="1600" dirty="0">
                <a:solidFill>
                  <a:srgbClr val="000000"/>
                </a:solidFill>
                <a:latin typeface="Santander Text" panose="020B0504020201020104" pitchFamily="34" charset="0"/>
                <a:hlinkClick r:id="rId9"/>
              </a:rPr>
              <a:t> click </a:t>
            </a:r>
            <a:r>
              <a:rPr lang="en-US" sz="1600" dirty="0" err="1">
                <a:solidFill>
                  <a:srgbClr val="000000"/>
                </a:solidFill>
                <a:latin typeface="Santander Text" panose="020B0504020201020104" pitchFamily="34" charset="0"/>
                <a:hlinkClick r:id="rId9"/>
              </a:rPr>
              <a:t>aquí</a:t>
            </a:r>
            <a:r>
              <a:rPr lang="en-US" sz="1600" dirty="0">
                <a:solidFill>
                  <a:srgbClr val="000000"/>
                </a:solidFill>
                <a:latin typeface="Santander Text" panose="020B0504020201020104" pitchFamily="34" charset="0"/>
                <a:hlinkClick r:id="rId9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Santander Text" panose="020B0504020201020104" pitchFamily="34" charset="0"/>
              </a:rPr>
              <a:t>para </a:t>
            </a:r>
            <a:r>
              <a:rPr lang="en-US" sz="1600" dirty="0" err="1">
                <a:solidFill>
                  <a:srgbClr val="000000"/>
                </a:solidFill>
                <a:latin typeface="Santander Text" panose="020B0504020201020104" pitchFamily="34" charset="0"/>
              </a:rPr>
              <a:t>solicitar</a:t>
            </a:r>
            <a:r>
              <a:rPr lang="en-US" sz="1600" dirty="0">
                <a:solidFill>
                  <a:srgbClr val="000000"/>
                </a:solidFill>
                <a:latin typeface="Santander Text" panose="020B05040202010201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Santander Text" panose="020B0504020201020104" pitchFamily="34" charset="0"/>
              </a:rPr>
              <a:t>soporte</a:t>
            </a:r>
            <a:r>
              <a:rPr lang="en-US" sz="1600" dirty="0">
                <a:solidFill>
                  <a:srgbClr val="000000"/>
                </a:solidFill>
                <a:latin typeface="Santander Text" panose="020B05040202010201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Santander Text" panose="020B0504020201020104" pitchFamily="34" charset="0"/>
              </a:rPr>
              <a:t>técnico</a:t>
            </a:r>
            <a:r>
              <a:rPr lang="en-US" sz="1600" dirty="0">
                <a:solidFill>
                  <a:srgbClr val="000000"/>
                </a:solidFill>
                <a:latin typeface="Santander Text" panose="020B0504020201020104" pitchFamily="34" charset="0"/>
              </a:rPr>
              <a:t> al </a:t>
            </a:r>
            <a:r>
              <a:rPr lang="en-US" sz="1600" dirty="0" err="1">
                <a:solidFill>
                  <a:srgbClr val="000000"/>
                </a:solidFill>
                <a:latin typeface="Santander Text" panose="020B0504020201020104" pitchFamily="34" charset="0"/>
              </a:rPr>
              <a:t>equipo</a:t>
            </a:r>
            <a:r>
              <a:rPr lang="en-US" sz="1600" dirty="0">
                <a:solidFill>
                  <a:srgbClr val="000000"/>
                </a:solidFill>
                <a:latin typeface="Santander Text" panose="020B0504020201020104" pitchFamily="34" charset="0"/>
              </a:rPr>
              <a:t> de </a:t>
            </a:r>
            <a:r>
              <a:rPr lang="en-US" sz="1600" dirty="0" err="1">
                <a:solidFill>
                  <a:srgbClr val="000000"/>
                </a:solidFill>
                <a:latin typeface="Santander Text" panose="020B0504020201020104" pitchFamily="34" charset="0"/>
              </a:rPr>
              <a:t>expertos</a:t>
            </a:r>
            <a:r>
              <a:rPr lang="en-US" sz="1600" dirty="0">
                <a:solidFill>
                  <a:srgbClr val="000000"/>
                </a:solidFill>
                <a:latin typeface="Santander Text" panose="020B0504020201020104" pitchFamily="34" charset="0"/>
              </a:rPr>
              <a:t> de SAP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8D6C9C68-E113-40E5-B532-93717559DFFA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189"/>
          <a:stretch/>
        </p:blipFill>
        <p:spPr>
          <a:xfrm>
            <a:off x="10629426" y="57977"/>
            <a:ext cx="1350818" cy="554219"/>
          </a:xfrm>
          <a:prstGeom prst="rect">
            <a:avLst/>
          </a:prstGeom>
          <a:noFill/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E45537-3B22-48C5-8E64-91273216A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D97B6-E32F-4D7D-B839-7C3B51F2640F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F93CF7-8B97-4428-9AE1-40D759463D32}"/>
              </a:ext>
            </a:extLst>
          </p:cNvPr>
          <p:cNvSpPr/>
          <p:nvPr/>
        </p:nvSpPr>
        <p:spPr>
          <a:xfrm>
            <a:off x="959710" y="4201363"/>
            <a:ext cx="452669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err="1">
                <a:solidFill>
                  <a:srgbClr val="000000"/>
                </a:solidFill>
                <a:latin typeface="Santander Text" panose="020B0504020201020104" pitchFamily="34" charset="0"/>
              </a:rPr>
              <a:t>Soporte</a:t>
            </a:r>
            <a:r>
              <a:rPr lang="en-US" sz="1600" b="1" dirty="0">
                <a:solidFill>
                  <a:srgbClr val="000000"/>
                </a:solidFill>
                <a:latin typeface="Santander Text" panose="020B0504020201020104" pitchFamily="34" charset="0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Santander Text" panose="020B0504020201020104" pitchFamily="34" charset="0"/>
              </a:rPr>
              <a:t>operativo</a:t>
            </a:r>
            <a:endParaRPr lang="en-US" sz="1600" b="1" dirty="0">
              <a:solidFill>
                <a:srgbClr val="000000"/>
              </a:solidFill>
              <a:latin typeface="Santander Text" panose="020B0504020201020104" pitchFamily="34" charset="0"/>
            </a:endParaRPr>
          </a:p>
          <a:p>
            <a:r>
              <a:rPr lang="en-US" sz="1600" dirty="0">
                <a:latin typeface="Santander Text" panose="020B0504020201020104" pitchFamily="34" charset="0"/>
              </a:rPr>
              <a:t>¿No sabe </a:t>
            </a:r>
            <a:r>
              <a:rPr lang="en-US" sz="1600" dirty="0" err="1">
                <a:latin typeface="Santander Text" panose="020B0504020201020104" pitchFamily="34" charset="0"/>
              </a:rPr>
              <a:t>qué</a:t>
            </a:r>
            <a:r>
              <a:rPr lang="en-US" sz="1600" dirty="0">
                <a:latin typeface="Santander Text" panose="020B0504020201020104" pitchFamily="34" charset="0"/>
              </a:rPr>
              <a:t> pasos </a:t>
            </a:r>
            <a:r>
              <a:rPr lang="en-US" sz="1600" dirty="0" err="1">
                <a:latin typeface="Santander Text" panose="020B0504020201020104" pitchFamily="34" charset="0"/>
              </a:rPr>
              <a:t>seguir</a:t>
            </a:r>
            <a:r>
              <a:rPr lang="en-US" sz="1600" dirty="0">
                <a:latin typeface="Santander Text" panose="020B0504020201020104" pitchFamily="34" charset="0"/>
              </a:rPr>
              <a:t>? </a:t>
            </a:r>
          </a:p>
          <a:p>
            <a:r>
              <a:rPr lang="es-ES" sz="1600" dirty="0">
                <a:latin typeface="Santander Text" panose="020B0504020201020104" pitchFamily="34" charset="0"/>
              </a:rPr>
              <a:t>Escriba un email con sus dudas a:</a:t>
            </a:r>
          </a:p>
          <a:p>
            <a:r>
              <a:rPr lang="es-ES" sz="1600" dirty="0">
                <a:latin typeface="Santander Text" panose="020B0504020201020104" pitchFamily="34" charset="0"/>
                <a:hlinkClick r:id="rId11"/>
              </a:rPr>
              <a:t>ProveedoresEuropa@gruposantander.com</a:t>
            </a:r>
            <a:endParaRPr lang="es-ES" sz="1600" dirty="0">
              <a:latin typeface="Santander Text" panose="020B0504020201020104" pitchFamily="34" charset="0"/>
            </a:endParaRP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B98F2D63-5641-6791-05A8-3FC824D45048}"/>
              </a:ext>
            </a:extLst>
          </p:cNvPr>
          <p:cNvSpPr/>
          <p:nvPr/>
        </p:nvSpPr>
        <p:spPr>
          <a:xfrm>
            <a:off x="959710" y="1886508"/>
            <a:ext cx="413891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0000"/>
                </a:solidFill>
                <a:latin typeface="Santander Text" panose="020B0504020201020104" pitchFamily="34" charset="0"/>
              </a:rPr>
              <a:t>Su Portal de Proveedores </a:t>
            </a:r>
            <a:r>
              <a:rPr lang="en-US" sz="1600" b="1" dirty="0" err="1">
                <a:solidFill>
                  <a:srgbClr val="000000"/>
                </a:solidFill>
                <a:latin typeface="Santander Text" panose="020B0504020201020104" pitchFamily="34" charset="0"/>
              </a:rPr>
              <a:t>aquí</a:t>
            </a:r>
            <a:endParaRPr lang="en-US" sz="1600" b="1" dirty="0">
              <a:solidFill>
                <a:srgbClr val="000000"/>
              </a:solidFill>
              <a:latin typeface="Santander Text" panose="020B0504020201020104" pitchFamily="34" charset="0"/>
            </a:endParaRPr>
          </a:p>
          <a:p>
            <a:r>
              <a:rPr lang="en-US" sz="1600" dirty="0" err="1">
                <a:solidFill>
                  <a:srgbClr val="000000"/>
                </a:solidFill>
                <a:latin typeface="Santander Text" panose="020B0504020201020104" pitchFamily="34" charset="0"/>
              </a:rPr>
              <a:t>Encuentre</a:t>
            </a:r>
            <a:r>
              <a:rPr lang="en-US" sz="1600" dirty="0">
                <a:solidFill>
                  <a:srgbClr val="000000"/>
                </a:solidFill>
                <a:latin typeface="Santander Text" panose="020B05040202010201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Santander Text" panose="020B0504020201020104" pitchFamily="34" charset="0"/>
              </a:rPr>
              <a:t>todo</a:t>
            </a:r>
            <a:r>
              <a:rPr lang="en-US" sz="1600" dirty="0">
                <a:solidFill>
                  <a:srgbClr val="000000"/>
                </a:solidFill>
                <a:latin typeface="Santander Text" panose="020B05040202010201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Santander Text" panose="020B0504020201020104" pitchFamily="34" charset="0"/>
              </a:rPr>
              <a:t>el</a:t>
            </a:r>
            <a:r>
              <a:rPr lang="en-US" sz="1600" dirty="0">
                <a:solidFill>
                  <a:srgbClr val="000000"/>
                </a:solidFill>
                <a:latin typeface="Santander Text" panose="020B0504020201020104" pitchFamily="34" charset="0"/>
              </a:rPr>
              <a:t> material que </a:t>
            </a:r>
            <a:r>
              <a:rPr lang="en-US" sz="1600" dirty="0" err="1">
                <a:solidFill>
                  <a:srgbClr val="000000"/>
                </a:solidFill>
                <a:latin typeface="Santander Text" panose="020B0504020201020104" pitchFamily="34" charset="0"/>
              </a:rPr>
              <a:t>necesite</a:t>
            </a:r>
            <a:r>
              <a:rPr lang="en-US" sz="1600" dirty="0">
                <a:solidFill>
                  <a:srgbClr val="000000"/>
                </a:solidFill>
                <a:latin typeface="Santander Text" panose="020B05040202010201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Santander Text" panose="020B0504020201020104" pitchFamily="34" charset="0"/>
              </a:rPr>
              <a:t>en</a:t>
            </a:r>
            <a:r>
              <a:rPr lang="en-US" sz="1600" dirty="0">
                <a:solidFill>
                  <a:srgbClr val="000000"/>
                </a:solidFill>
                <a:latin typeface="Santander Text" panose="020B0504020201020104" pitchFamily="34" charset="0"/>
              </a:rPr>
              <a:t>: </a:t>
            </a:r>
            <a:r>
              <a:rPr lang="en-US" sz="1600" dirty="0">
                <a:solidFill>
                  <a:srgbClr val="000000"/>
                </a:solidFill>
                <a:latin typeface="Santander Text" panose="020B0504020201020104" pitchFamily="34" charset="0"/>
                <a:hlinkClick r:id="rId12"/>
              </a:rPr>
              <a:t>Supplier Information Portal</a:t>
            </a:r>
            <a:endParaRPr lang="en-US" sz="1600" dirty="0">
              <a:solidFill>
                <a:srgbClr val="000000"/>
              </a:solidFill>
              <a:latin typeface="Santander Text" panose="020B050402020102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6017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5</Words>
  <Application>Microsoft Office PowerPoint</Application>
  <PresentationFormat>Panorámica</PresentationFormat>
  <Paragraphs>36</Paragraphs>
  <Slides>4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3" baseType="lpstr">
      <vt:lpstr>Arial</vt:lpstr>
      <vt:lpstr>Arial Black</vt:lpstr>
      <vt:lpstr>Calibri</vt:lpstr>
      <vt:lpstr>Calibri Light</vt:lpstr>
      <vt:lpstr>Santander Headline</vt:lpstr>
      <vt:lpstr>Santander Text</vt:lpstr>
      <vt:lpstr>Wingdings</vt:lpstr>
      <vt:lpstr>Office Them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dríguez Pérez De Guzmán, Julia</dc:creator>
  <cp:lastModifiedBy>Terol Guerrero Adrian</cp:lastModifiedBy>
  <cp:revision>3</cp:revision>
  <dcterms:created xsi:type="dcterms:W3CDTF">2024-04-02T15:37:48Z</dcterms:created>
  <dcterms:modified xsi:type="dcterms:W3CDTF">2024-04-02T16:5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c2abd79-57a9-4473-8700-c843f76a1e37_Enabled">
    <vt:lpwstr>true</vt:lpwstr>
  </property>
  <property fmtid="{D5CDD505-2E9C-101B-9397-08002B2CF9AE}" pid="3" name="MSIP_Label_0c2abd79-57a9-4473-8700-c843f76a1e37_SetDate">
    <vt:lpwstr>2024-04-02T16:48:11Z</vt:lpwstr>
  </property>
  <property fmtid="{D5CDD505-2E9C-101B-9397-08002B2CF9AE}" pid="4" name="MSIP_Label_0c2abd79-57a9-4473-8700-c843f76a1e37_Method">
    <vt:lpwstr>Privileged</vt:lpwstr>
  </property>
  <property fmtid="{D5CDD505-2E9C-101B-9397-08002B2CF9AE}" pid="5" name="MSIP_Label_0c2abd79-57a9-4473-8700-c843f76a1e37_Name">
    <vt:lpwstr>Internal</vt:lpwstr>
  </property>
  <property fmtid="{D5CDD505-2E9C-101B-9397-08002B2CF9AE}" pid="6" name="MSIP_Label_0c2abd79-57a9-4473-8700-c843f76a1e37_SiteId">
    <vt:lpwstr>35595a02-4d6d-44ac-99e1-f9ab4cd872db</vt:lpwstr>
  </property>
  <property fmtid="{D5CDD505-2E9C-101B-9397-08002B2CF9AE}" pid="7" name="MSIP_Label_0c2abd79-57a9-4473-8700-c843f76a1e37_ActionId">
    <vt:lpwstr>08c94a9c-6700-4caa-8ef0-d6b1395cefb8</vt:lpwstr>
  </property>
  <property fmtid="{D5CDD505-2E9C-101B-9397-08002B2CF9AE}" pid="8" name="MSIP_Label_0c2abd79-57a9-4473-8700-c843f76a1e37_ContentBits">
    <vt:lpwstr>0</vt:lpwstr>
  </property>
</Properties>
</file>